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377CA-BE13-DA1C-E8FB-14F9AD0531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Chevron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B14F29-2100-5980-FAE6-E9782ABEA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676DBC-1433-6793-82A5-C21BA92DDC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2B6957-0BB9-7CF0-7BDF-BBB05B82F6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D588D7-42FF-FF11-F7AE-B3F77DE13A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368C99-774E-5C9F-1E2A-C19D688ABD1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3D3A717-EBAE-E1C2-B63E-B12EED8233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4182BE-4CCD-753C-4D4B-BDC1BDEB92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eader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274E20-76F0-AD76-BE39-FCEB3C79D4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Header 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B46C918-E372-E659-A0CF-C6910973259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Header 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ADC9C-AC0A-672C-5150-2773FF65AE6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296290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</TotalTime>
  <Words>204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Four Chevron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04</cp:revision>
  <dcterms:created xsi:type="dcterms:W3CDTF">2025-07-09T10:57:17Z</dcterms:created>
  <dcterms:modified xsi:type="dcterms:W3CDTF">2025-10-22T09:33:30Z</dcterms:modified>
  <cp:category/>
</cp:coreProperties>
</file>